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2.5717111770524232E-2"/>
          <c:w val="0.94825870646766164"/>
          <c:h val="0.94856577645895157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4A-4AC2-B5B9-BA18D91CF3F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4A-4AC2-B5B9-BA18D91CF3F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4A-4AC2-B5B9-BA18D91CF3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33538927"/>
        <c:axId val="1"/>
      </c:areaChart>
      <c:catAx>
        <c:axId val="15335389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33538927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F8F24-167A-9DA7-CF48-18B1DCA0A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9E3E05-952B-9585-841D-CB774FC17D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C934FC-4D91-1ACE-3AB7-BF7E22317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AA1A45-3996-04FF-C81E-5D17AB026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09387-CCF7-CD6F-659B-606D5DF50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1543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9B45F-E468-5846-8CA1-CD7FE1FAA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557BF0-B2BF-6682-56F7-C8F38EC4F1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91FB5-E64D-3EC3-FC5C-E22A2A0CE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42F8C3-5F40-D16F-8D31-BDE708B9C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FFC037-17E9-022D-99B7-994172063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222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6B1560-89AF-4F9D-C6D3-75A2370C6D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520CC2-A1D9-E5B5-AAB9-2B6B130A3E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606A7-4812-DB87-0375-EB355C885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E9F1F-9F62-4A4D-35C8-67636054F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E755CC-9C62-A6E9-D7B1-831A38401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366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6280C-371D-9754-BF9D-A95BFDE94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4607FB-88E2-81FE-1C35-1AF2ECF259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F15048-49D0-AF76-79E8-98A34DF82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A4709-7E18-0A03-82F8-CAFF82C04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7D235D-B602-45D2-FBA5-BB045B318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458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3C6C9-84EE-E27C-C7A0-EF42C7C0E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48F761-4DEC-DE98-C46F-FFCF4E3C92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E0BEF5-A01F-FFB5-083E-9A8E25D2F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0B60B1-4C13-2C7C-A36F-D8BD8B476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3A3B7-0352-19C3-9114-3D54C722A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225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30B15-E981-8C43-196B-EFF53F951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E4262-89D5-BE1C-A419-4E3184BD7C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175BA-36EA-C0D5-2F77-C66E232090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993D26-B22B-1A65-A155-176087416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691982-71EC-6074-66DE-6AE5537C0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D9B1DB-6182-DF68-79C0-3336D11A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887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7DE87-7EA0-B5EB-0E30-E084D9059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383D2D-AD3A-B68F-EDBE-F34BA164E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857364-4EBB-184F-BB1D-F02D32DC56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A68C11-DF53-DB5D-7ED7-D4D0496B30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E7BC60-9578-7203-73AF-3A041AA6C1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01E2E9-D3E6-D96C-E40A-958928EF5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57A5A3-498C-40B2-C284-0755F6A08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77FBAF-B79D-4D87-06E6-AE96E738C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2998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B099A-EA39-08D4-2DB4-2A1317D02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B06E2F-E268-2CCC-B47C-0286A52D9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3445D-82DB-287D-8E79-0B23317DB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21DEE-C015-A1E5-E079-2460B4471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64908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1BA7DF-11C7-08DA-9495-FE2E04443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25C201-82BB-2E5E-D9D9-75605A393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A7AA9C-3B0F-BDC4-17FF-B6116879F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727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E6588-BF06-7FBB-07A8-20CFDC90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510424-9C4A-CDDD-777A-904FEBC84C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08B024-69D0-9912-4814-7901CB026C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2EECF5-1FB9-A762-DA19-3B1797868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430208-2B14-A24D-6B5B-EE8D2B9CC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D22AB0-77C7-3875-4953-191FC50E4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220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4E36A-B3C1-072D-A274-67FC985DB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4A156-878E-7950-DAF7-8D18F7483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E1FF07-0A16-B601-89BC-A963CA05CA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1BB56F-24B8-1766-9FAE-D8C48B630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79401-7DB7-282E-E8C3-9B863D53B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09FFC1-E90F-781C-036E-624386187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77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696A97-AD42-D446-D147-546264B0D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464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468D53-8D3C-63CD-BB3D-A104FB967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6AA418-466E-1967-7CF0-96D682668A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3A996-64B4-4E33-A143-C595201D7CCE}" type="datetimeFigureOut">
              <a:rPr lang="en-GB" smtClean="0"/>
              <a:t>13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29864-E2C9-EDFD-E4CB-1550DB1402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B95CE-DB71-6F72-8D8A-7E298E7C1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0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.emf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BFD6DF-1D25-6DC3-D41D-D8D7171B83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575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C4DF3C1-48FB-5AC1-9060-A990789966B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78261"/>
              </p:ext>
            </p:extLst>
          </p:nvPr>
        </p:nvGraphicFramePr>
        <p:xfrm>
          <a:off x="4152900" y="1631950"/>
          <a:ext cx="3190875" cy="3209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048125" y="48180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852ECC-2C5B-4A9D-9E76-DE3CB32AD0AE}" type="datetime'''''''''''''''2''''''''''''''0''2''''''''''''''''2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561013" y="48180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259082-5BD3-43CA-9308-D048AB48298C}" type="datetime'''''''''''''''''2''''''''0''2''''''''3''''''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73900" y="481806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858FA7-5B5B-4A34-850A-FFAA24A07F13}" type="datetime'2''''''''''''''''''''''''0''''''''''''''''''''''''''2''''''4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GB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30600" y="3367088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4A27143-0BE7-4891-BE33-7F14EBBF4EE4}" type="datetime'Se''''''''''''''''r''''''''''''i''''''e''''''s'''' ''''''''1'">
              <a:rPr lang="en-GB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GB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30600" y="3649663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DCE330-FF77-47F3-B16C-8AB7CA511D7B}" type="datetime'''S''''''''''''''''''e''''''''''''''r''ies'''''' ''''2'''''">
              <a:rPr lang="en-GB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GB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30600" y="4240213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8AEF1F-52C4-4149-BE5D-C01E1040F27C}" type="datetime'''''''S''e''r''''''i''e''''''''''s ''''''''''''''''''''3'">
              <a:rPr lang="en-GB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55641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kVu27sQ8e_MnEZOZ6c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qdiIVWcjwzYo3caTT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YoenZ30o_a21IHf9UZ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ykJAURWoGUkGgV9cD3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Kfgo0T.JWjMBwuQiDT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n37uGUrkx.Ad0VBLSM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spf2.FLuYRRhr4oUXoO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lie Thurston</dc:creator>
  <cp:lastModifiedBy>Ollie Thurston</cp:lastModifiedBy>
  <cp:revision>1</cp:revision>
  <dcterms:created xsi:type="dcterms:W3CDTF">2024-06-13T13:21:10Z</dcterms:created>
  <dcterms:modified xsi:type="dcterms:W3CDTF">2024-06-13T13:21:24Z</dcterms:modified>
</cp:coreProperties>
</file>